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2147473074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8" d="100"/>
          <a:sy n="68" d="100"/>
        </p:scale>
        <p:origin x="972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EFF683-66B8-479D-8DD2-4691BBC64051}" type="datetimeFigureOut">
              <a:rPr lang="zh-CN" altLang="en-US" smtClean="0"/>
              <a:t>2025/9/5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70764BF-3087-48BD-84AB-0DF7B52AA1BD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3802281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sz="1200" b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7700313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13658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9731998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7232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57778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710328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0228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541935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notesSlide" Target="../notesSlides/notesSlide1.xml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12" Type="http://schemas.openxmlformats.org/officeDocument/2006/relationships/slideLayout" Target="../slideLayouts/slideLayout5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5" Type="http://schemas.openxmlformats.org/officeDocument/2006/relationships/tags" Target="../tags/tag8.xml"/><Relationship Id="rId15" Type="http://schemas.openxmlformats.org/officeDocument/2006/relationships/image" Target="../media/image4.emf"/><Relationship Id="rId10" Type="http://schemas.openxmlformats.org/officeDocument/2006/relationships/tags" Target="../tags/tag13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oleObject" Target="../embeddings/oleObject5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幻灯片" r:id="rId14" imgW="349" imgH="350" progId="TCLayout.ActiveDocument.1">
                  <p:embed/>
                </p:oleObj>
              </mc:Choice>
              <mc:Fallback>
                <p:oleObj name="think-cell 幻灯片" r:id="rId14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itle 22">
            <a:extLst>
              <a:ext uri="{FF2B5EF4-FFF2-40B4-BE49-F238E27FC236}">
                <a16:creationId xmlns:a16="http://schemas.microsoft.com/office/drawing/2014/main" id="{42538E75-C6F1-6F83-48D4-59AEE900A0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/>
              <a:t>{title}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DF61103-44CF-E43F-56D5-6A995FB8EB55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>
          <a:xfrm>
            <a:off x="2121728" y="2165158"/>
            <a:ext cx="4295973" cy="1948732"/>
          </a:xfrm>
          <a:prstGeom prst="rect">
            <a:avLst/>
          </a:prstGeom>
          <a:solidFill>
            <a:schemeClr val="bg1"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156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2136774" y="1557338"/>
            <a:ext cx="4287838" cy="612775"/>
          </a:xfrm>
          <a:prstGeom prst="rect">
            <a:avLst/>
          </a:prstGeom>
          <a:solidFill>
            <a:schemeClr val="accent1"/>
          </a:solidFill>
          <a:ln>
            <a:solidFill>
              <a:schemeClr val="bg1"/>
            </a:solidFill>
          </a:ln>
          <a:effectLst/>
        </p:spPr>
        <p:txBody>
          <a:bodyPr vert="horz" wrap="none" lIns="101600" tIns="168275" rIns="0" bIns="169863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zh-CN" altLang="en-US" sz="1800" b="1" dirty="0">
                <a:solidFill>
                  <a:prstClr val="white"/>
                </a:solidFill>
                <a:latin typeface="理想品牌字体 2022"/>
                <a:ea typeface="League Spartan" charset="0"/>
                <a:cs typeface="Poppins" pitchFamily="2" charset="77"/>
              </a:rPr>
              <a:t>内部因素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League Spartan" charset="0"/>
              <a:cs typeface="Poppins" pitchFamily="2" charset="77"/>
            </a:endParaRP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B02CB8D3-9520-AC82-E8F4-32A848615AD8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6424613" y="1557338"/>
            <a:ext cx="4289425" cy="612775"/>
          </a:xfrm>
          <a:prstGeom prst="rect">
            <a:avLst/>
          </a:prstGeom>
          <a:solidFill>
            <a:schemeClr val="accent1"/>
          </a:solidFill>
          <a:ln>
            <a:solidFill>
              <a:schemeClr val="bg1"/>
            </a:solidFill>
          </a:ln>
          <a:effectLst/>
        </p:spPr>
        <p:txBody>
          <a:bodyPr vert="horz" wrap="none" lIns="101600" tIns="168275" rIns="0" bIns="169863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League Spartan" charset="0"/>
                <a:cs typeface="Poppins" pitchFamily="2" charset="77"/>
              </a:rPr>
              <a:t>外部因素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League Spartan" charset="0"/>
              <a:cs typeface="Poppins" pitchFamily="2" charset="77"/>
            </a:endParaRPr>
          </a:p>
        </p:txBody>
      </p:sp>
      <p:sp>
        <p:nvSpPr>
          <p:cNvPr id="50" name="Text Placeholder 2">
            <a:extLst>
              <a:ext uri="{FF2B5EF4-FFF2-40B4-BE49-F238E27FC236}">
                <a16:creationId xmlns:a16="http://schemas.microsoft.com/office/drawing/2014/main" id="{39D5BD7F-9CE5-CCA8-8AC1-8FD3618C5640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auto">
          <a:xfrm>
            <a:off x="2136774" y="2170113"/>
            <a:ext cx="4287838" cy="18954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none" lIns="101600" tIns="101600" rIns="0" bIns="409575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zh-CN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D6A26A"/>
                </a:solidFill>
                <a:effectLst/>
                <a:uLnTx/>
                <a:uFillTx/>
                <a:latin typeface="理想品牌字体 2022"/>
                <a:ea typeface="League Spartan" charset="0"/>
                <a:cs typeface="Poppins" pitchFamily="2" charset="77"/>
              </a:rPr>
              <a:t>优势</a:t>
            </a:r>
            <a:endParaRPr kumimoji="0" lang="en-US" altLang="zh-CN" sz="2000" b="0" i="0" u="none" strike="noStrike" kern="1200" cap="none" spc="0" normalizeH="0" baseline="0" noProof="0" dirty="0">
              <a:ln>
                <a:noFill/>
              </a:ln>
              <a:solidFill>
                <a:srgbClr val="D6A26A"/>
              </a:solidFill>
              <a:effectLst/>
              <a:uLnTx/>
              <a:uFillTx/>
              <a:latin typeface="理想品牌字体 2022"/>
              <a:ea typeface="League Spartan" charset="0"/>
              <a:cs typeface="Poppins" pitchFamily="2" charset="77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strength}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56" name="Text Placeholder 2">
            <a:extLst>
              <a:ext uri="{FF2B5EF4-FFF2-40B4-BE49-F238E27FC236}">
                <a16:creationId xmlns:a16="http://schemas.microsoft.com/office/drawing/2014/main" id="{753344DD-9F2B-4799-9CDB-2B1D6E0DF86C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6424613" y="2170113"/>
            <a:ext cx="4289425" cy="1895475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txBody>
          <a:bodyPr vert="horz" wrap="none" lIns="101600" tIns="101600" rIns="0" bIns="409575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zh-CN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D6A26A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机会</a:t>
            </a:r>
            <a:endParaRPr kumimoji="0" lang="en-US" altLang="zh-CN" sz="2000" b="0" i="0" u="none" strike="noStrike" kern="1200" cap="none" spc="0" normalizeH="0" baseline="0" noProof="0" dirty="0">
              <a:ln>
                <a:noFill/>
              </a:ln>
              <a:solidFill>
                <a:srgbClr val="D6A26A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opportunities}</a:t>
            </a:r>
          </a:p>
        </p:txBody>
      </p:sp>
      <p:sp>
        <p:nvSpPr>
          <p:cNvPr id="59" name="Text Placeholder 2">
            <a:extLst>
              <a:ext uri="{FF2B5EF4-FFF2-40B4-BE49-F238E27FC236}">
                <a16:creationId xmlns:a16="http://schemas.microsoft.com/office/drawing/2014/main" id="{B9848437-CA3B-AD5B-BC10-15BAA92DBB0D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auto">
          <a:xfrm>
            <a:off x="2136774" y="4065588"/>
            <a:ext cx="4287838" cy="1992313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txBody>
          <a:bodyPr vert="horz" wrap="none" lIns="101600" tIns="101600" rIns="0" bIns="506413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zh-CN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D6A26A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劣势</a:t>
            </a:r>
            <a:endParaRPr kumimoji="0" lang="en-US" altLang="zh-CN" sz="2000" b="0" i="0" u="none" strike="noStrike" kern="1200" cap="none" spc="0" normalizeH="0" baseline="0" noProof="0" dirty="0">
              <a:ln>
                <a:noFill/>
              </a:ln>
              <a:solidFill>
                <a:srgbClr val="D6A26A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weakness}</a:t>
            </a:r>
          </a:p>
        </p:txBody>
      </p:sp>
      <p:sp>
        <p:nvSpPr>
          <p:cNvPr id="60" name="Text Placeholder 2">
            <a:extLst>
              <a:ext uri="{FF2B5EF4-FFF2-40B4-BE49-F238E27FC236}">
                <a16:creationId xmlns:a16="http://schemas.microsoft.com/office/drawing/2014/main" id="{FC81C52E-7E12-B16D-6069-753006993500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auto">
          <a:xfrm>
            <a:off x="6424613" y="4065588"/>
            <a:ext cx="4289425" cy="199231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none" lIns="101600" tIns="101600" rIns="0" bIns="506413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zh-CN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D6A26A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威胁</a:t>
            </a:r>
            <a:endParaRPr kumimoji="0" lang="en-US" altLang="zh-CN" sz="2000" b="0" i="0" u="none" strike="noStrike" kern="1200" cap="none" spc="0" normalizeH="0" baseline="0" noProof="0" dirty="0">
              <a:ln>
                <a:noFill/>
              </a:ln>
              <a:solidFill>
                <a:srgbClr val="D6A26A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threats}</a:t>
            </a:r>
          </a:p>
        </p:txBody>
      </p:sp>
      <p:sp>
        <p:nvSpPr>
          <p:cNvPr id="62" name="Text Placeholder 2">
            <a:extLst>
              <a:ext uri="{FF2B5EF4-FFF2-40B4-BE49-F238E27FC236}">
                <a16:creationId xmlns:a16="http://schemas.microsoft.com/office/drawing/2014/main" id="{6FDD23EC-4B87-EE9E-9E29-9B1C66D074B9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1524000" y="2170113"/>
            <a:ext cx="612775" cy="1895475"/>
          </a:xfrm>
          <a:prstGeom prst="rect">
            <a:avLst/>
          </a:prstGeom>
          <a:solidFill>
            <a:schemeClr val="accent6"/>
          </a:solidFill>
          <a:ln>
            <a:solidFill>
              <a:schemeClr val="bg1"/>
            </a:solidFill>
          </a:ln>
          <a:effectLst/>
        </p:spPr>
        <p:txBody>
          <a:bodyPr vert="vert270" wrap="none" lIns="153988" tIns="0" rIns="153988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积极因素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63" name="Text Placeholder 2">
            <a:extLst>
              <a:ext uri="{FF2B5EF4-FFF2-40B4-BE49-F238E27FC236}">
                <a16:creationId xmlns:a16="http://schemas.microsoft.com/office/drawing/2014/main" id="{A9BA2F6F-39BD-EFB8-A250-FE430541FE68}"/>
              </a:ext>
            </a:extLst>
          </p:cNvPr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1524000" y="4065588"/>
            <a:ext cx="612775" cy="1992313"/>
          </a:xfrm>
          <a:prstGeom prst="rect">
            <a:avLst/>
          </a:prstGeom>
          <a:solidFill>
            <a:schemeClr val="accent6"/>
          </a:solidFill>
          <a:ln>
            <a:solidFill>
              <a:schemeClr val="bg1"/>
            </a:solidFill>
          </a:ln>
          <a:effectLst/>
        </p:spPr>
        <p:txBody>
          <a:bodyPr vert="vert270" wrap="none" lIns="153988" tIns="1588" rIns="153988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zh-CN" altLang="en-US" sz="2000" b="1" dirty="0">
                <a:solidFill>
                  <a:prstClr val="white"/>
                </a:solidFill>
                <a:latin typeface="理想品牌字体 2022"/>
                <a:ea typeface="理想品牌字体 2022"/>
                <a:cs typeface="Poppins" pitchFamily="2" charset="77"/>
              </a:rPr>
              <a:t>消极因素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Poppins" pitchFamily="2" charset="77"/>
            </a:endParaRPr>
          </a:p>
        </p:txBody>
      </p:sp>
      <p:sp>
        <p:nvSpPr>
          <p:cNvPr id="5" name="Text Placeholder 15">
            <a:extLst>
              <a:ext uri="{FF2B5EF4-FFF2-40B4-BE49-F238E27FC236}">
                <a16:creationId xmlns:a16="http://schemas.microsoft.com/office/drawing/2014/main" id="{33105197-DDBA-C00D-75BB-89F5DABAF7F3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5172891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strategy, matrix, strength, weakness, threat, opportunity, table, tables, think-cell</a:t>
            </a:r>
          </a:p>
        </p:txBody>
      </p:sp>
      <p:sp>
        <p:nvSpPr>
          <p:cNvPr id="6" name="Rectangle 18">
            <a:extLst>
              <a:ext uri="{FF2B5EF4-FFF2-40B4-BE49-F238E27FC236}">
                <a16:creationId xmlns:a16="http://schemas.microsoft.com/office/drawing/2014/main" id="{14487EAB-94B2-A37B-F152-935C837FE630}"/>
              </a:ext>
            </a:extLst>
          </p:cNvPr>
          <p:cNvSpPr>
            <a:spLocks/>
          </p:cNvSpPr>
          <p:nvPr/>
        </p:nvSpPr>
        <p:spPr>
          <a:xfrm>
            <a:off x="8811109" y="-251996"/>
            <a:ext cx="4575600" cy="81136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1524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sng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his matrix is created using </a:t>
            </a:r>
            <a:r>
              <a:rPr kumimoji="0" lang="en-US" sz="1200" b="1" i="0" u="sng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hink-cell text boxes</a:t>
            </a:r>
            <a:r>
              <a:rPr kumimoji="0" lang="en-US" sz="1200" b="0" i="0" u="sng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.</a:t>
            </a:r>
          </a:p>
          <a:p>
            <a:pPr marL="86995" marR="0" lvl="0" indent="-8699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o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edit the text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, simply click the text box.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Arial"/>
            </a:endParaRPr>
          </a:p>
          <a:p>
            <a:pPr marL="86995" marR="0" lvl="0" indent="-8699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Change the style and formatting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 with ribbon commands or the think-cell mini toolbar.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783789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Gr9QNEPsUbJFdHx1j1M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osjanSvR2BRNk1T73vj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S8s3MzP2UOHQetFjtBP.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RLR2egRACnvVVYnofyq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TUPqmAegLRBBR03yO2Lz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bV_xbKzuGU5dOqIAas64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m0iChSfggehlxl0wJtNg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PhzZcxQJVS7AYbU9o9HQ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</TotalTime>
  <Words>78</Words>
  <Application>Microsoft Office PowerPoint</Application>
  <PresentationFormat>宽屏</PresentationFormat>
  <Paragraphs>17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1" baseType="lpstr">
      <vt:lpstr>League Spartan</vt:lpstr>
      <vt:lpstr>LiciumFont 2022 Bold</vt:lpstr>
      <vt:lpstr>Poppins</vt:lpstr>
      <vt:lpstr>等线</vt:lpstr>
      <vt:lpstr>理想品牌字体 2022</vt:lpstr>
      <vt:lpstr>Arial</vt:lpstr>
      <vt:lpstr>Calibri</vt:lpstr>
      <vt:lpstr>Trebuchet M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1</cp:revision>
  <dcterms:created xsi:type="dcterms:W3CDTF">2025-09-05T06:11:28Z</dcterms:created>
  <dcterms:modified xsi:type="dcterms:W3CDTF">2025-09-05T06:13:05Z</dcterms:modified>
</cp:coreProperties>
</file>